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595" r:id="rId2"/>
    <p:sldId id="706" r:id="rId3"/>
    <p:sldId id="709" r:id="rId4"/>
    <p:sldId id="708" r:id="rId5"/>
    <p:sldId id="710" r:id="rId6"/>
    <p:sldId id="713" r:id="rId7"/>
    <p:sldId id="712" r:id="rId8"/>
    <p:sldId id="711" r:id="rId9"/>
    <p:sldId id="714" r:id="rId10"/>
    <p:sldId id="715" r:id="rId11"/>
    <p:sldId id="716" r:id="rId12"/>
    <p:sldId id="717" r:id="rId13"/>
    <p:sldId id="718" r:id="rId14"/>
    <p:sldId id="719" r:id="rId15"/>
    <p:sldId id="721" r:id="rId16"/>
    <p:sldId id="722" r:id="rId17"/>
    <p:sldId id="720" r:id="rId18"/>
    <p:sldId id="723" r:id="rId19"/>
    <p:sldId id="734" r:id="rId20"/>
    <p:sldId id="724" r:id="rId21"/>
    <p:sldId id="735" r:id="rId22"/>
    <p:sldId id="725" r:id="rId23"/>
    <p:sldId id="744" r:id="rId24"/>
    <p:sldId id="745" r:id="rId25"/>
    <p:sldId id="726" r:id="rId26"/>
    <p:sldId id="737" r:id="rId27"/>
    <p:sldId id="727" r:id="rId28"/>
    <p:sldId id="728" r:id="rId29"/>
    <p:sldId id="739" r:id="rId30"/>
    <p:sldId id="729" r:id="rId31"/>
    <p:sldId id="740" r:id="rId32"/>
    <p:sldId id="730" r:id="rId33"/>
    <p:sldId id="746" r:id="rId34"/>
    <p:sldId id="741" r:id="rId35"/>
    <p:sldId id="731" r:id="rId36"/>
    <p:sldId id="742" r:id="rId37"/>
    <p:sldId id="732" r:id="rId38"/>
    <p:sldId id="743" r:id="rId39"/>
    <p:sldId id="756" r:id="rId40"/>
    <p:sldId id="733" r:id="rId41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706"/>
            <p14:sldId id="709"/>
            <p14:sldId id="708"/>
            <p14:sldId id="710"/>
            <p14:sldId id="713"/>
            <p14:sldId id="712"/>
            <p14:sldId id="711"/>
            <p14:sldId id="714"/>
            <p14:sldId id="715"/>
            <p14:sldId id="716"/>
            <p14:sldId id="717"/>
            <p14:sldId id="718"/>
            <p14:sldId id="719"/>
            <p14:sldId id="721"/>
            <p14:sldId id="722"/>
            <p14:sldId id="720"/>
            <p14:sldId id="723"/>
            <p14:sldId id="734"/>
            <p14:sldId id="724"/>
            <p14:sldId id="735"/>
            <p14:sldId id="725"/>
            <p14:sldId id="744"/>
            <p14:sldId id="745"/>
            <p14:sldId id="726"/>
            <p14:sldId id="737"/>
            <p14:sldId id="727"/>
            <p14:sldId id="728"/>
            <p14:sldId id="739"/>
            <p14:sldId id="729"/>
            <p14:sldId id="740"/>
            <p14:sldId id="730"/>
            <p14:sldId id="746"/>
            <p14:sldId id="741"/>
            <p14:sldId id="731"/>
            <p14:sldId id="742"/>
            <p14:sldId id="732"/>
            <p14:sldId id="743"/>
            <p14:sldId id="756"/>
            <p14:sldId id="7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A3"/>
    <a:srgbClr val="8E0825"/>
    <a:srgbClr val="001581"/>
    <a:srgbClr val="FFFFFF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3" autoAdjust="0"/>
    <p:restoredTop sz="95018" autoAdjust="0"/>
  </p:normalViewPr>
  <p:slideViewPr>
    <p:cSldViewPr>
      <p:cViewPr varScale="1">
        <p:scale>
          <a:sx n="73" d="100"/>
          <a:sy n="73" d="100"/>
        </p:scale>
        <p:origin x="312" y="36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4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4/2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RM: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versal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use Methodology </a:t>
            </a:r>
            <a:endParaRPr lang="en-US" dirty="0"/>
          </a:p>
          <a:p>
            <a:r>
              <a:rPr lang="en-US" dirty="0" err="1"/>
              <a:t>AVM: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vanced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ification Methodology</a:t>
            </a:r>
            <a:endParaRPr lang="en-US" dirty="0"/>
          </a:p>
          <a:p>
            <a:r>
              <a:rPr lang="en-US" dirty="0"/>
              <a:t>OVM: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 Verification </a:t>
            </a:r>
            <a:r>
              <a:rPr lang="en-US" sz="1200" dirty="0">
                <a:latin typeface="Tw Cen MT" pitchFamily="34" charset="0"/>
              </a:rPr>
              <a:t>Methodology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dirty="0"/>
          </a:p>
          <a:p>
            <a:r>
              <a:rPr lang="en-US" dirty="0" err="1"/>
              <a:t>RVM: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us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ification Methodology</a:t>
            </a:r>
            <a:endParaRPr lang="en-US" dirty="0"/>
          </a:p>
          <a:p>
            <a:r>
              <a:rPr lang="en-US" dirty="0"/>
              <a:t>VMM: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ification Methodology Manual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114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implement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885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Tw Cen MT" pitchFamily="34" charset="0"/>
              </a:rPr>
              <a:t>user-defined sequencer is recommended to extend from the parameterized base class “</a:t>
            </a:r>
            <a:r>
              <a:rPr lang="en-US" sz="1200" dirty="0" err="1">
                <a:latin typeface="Tw Cen MT" pitchFamily="34" charset="0"/>
              </a:rPr>
              <a:t>uvm_sequencer</a:t>
            </a:r>
            <a:r>
              <a:rPr lang="en-US" sz="1200" dirty="0">
                <a:latin typeface="Tw Cen MT" pitchFamily="34" charset="0"/>
              </a:rPr>
              <a:t>” which is parameterized by request (REQ) and response (RSP) item types. Response item usage is optional. So, mostly sequencer class is extended from a base class that has only a REQ ite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997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dirty="0">
                <a:solidFill>
                  <a:schemeClr val="tx2"/>
                </a:solidFill>
                <a:latin typeface="Tw Cen MT" pitchFamily="34" charset="0"/>
              </a:rPr>
              <a:t>CND212: Digital Testing and Verification</a:t>
            </a:r>
            <a:endParaRPr lang="en-US" sz="4000" dirty="0">
              <a:latin typeface="Tw Cen MT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3581400"/>
            <a:ext cx="12192000" cy="3276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Class Library provides all the building blocks needed to quickly developed, well-constructed, reusable,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components.</a:t>
            </a:r>
          </a:p>
        </p:txBody>
      </p:sp>
      <p:pic>
        <p:nvPicPr>
          <p:cNvPr id="129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2084024"/>
            <a:ext cx="7104556" cy="4575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68256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UVM void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The base class for all UVM classes. 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It is an abstract class with no data members or functions.  </a:t>
            </a:r>
          </a:p>
          <a:p>
            <a:pPr lvl="1"/>
            <a:endParaRPr lang="en-US" sz="2000" dirty="0">
              <a:latin typeface="Tw Cen MT" pitchFamily="34" charset="0"/>
            </a:endParaRPr>
          </a:p>
          <a:p>
            <a:r>
              <a:rPr lang="en-US" sz="2400" dirty="0">
                <a:latin typeface="Tw Cen MT" pitchFamily="34" charset="0"/>
              </a:rPr>
              <a:t>UVM object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The base class available for component and sequence branch.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Provides methods like create, clone, copy, record, compare, print, etc.</a:t>
            </a:r>
          </a:p>
        </p:txBody>
      </p:sp>
      <p:pic>
        <p:nvPicPr>
          <p:cNvPr id="10" name="Picture 9"/>
          <p:cNvPicPr/>
          <p:nvPr/>
        </p:nvPicPr>
        <p:blipFill>
          <a:blip r:embed="rId5"/>
          <a:stretch>
            <a:fillRect/>
          </a:stretch>
        </p:blipFill>
        <p:spPr>
          <a:xfrm>
            <a:off x="2971800" y="3810000"/>
            <a:ext cx="55626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83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UVM report object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Provides reporting functionality for UVM. </a:t>
            </a:r>
          </a:p>
          <a:p>
            <a:pPr lvl="1"/>
            <a:endParaRPr lang="en-US" sz="2400" dirty="0">
              <a:latin typeface="Tw Cen MT" pitchFamily="34" charset="0"/>
            </a:endParaRPr>
          </a:p>
          <a:p>
            <a:r>
              <a:rPr lang="en-US" sz="2400" dirty="0">
                <a:latin typeface="Tw Cen MT" pitchFamily="34" charset="0"/>
              </a:rPr>
              <a:t>UVM transaction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Used for generating stimulus and its analysis.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They are transient in nature. </a:t>
            </a:r>
          </a:p>
          <a:p>
            <a:pPr lvl="1"/>
            <a:endParaRPr lang="en-US" sz="2400" dirty="0">
              <a:latin typeface="Tw Cen MT" pitchFamily="34" charset="0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5"/>
          <a:stretch>
            <a:fillRect/>
          </a:stretch>
        </p:blipFill>
        <p:spPr>
          <a:xfrm>
            <a:off x="3124200" y="3515655"/>
            <a:ext cx="6248400" cy="3010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7882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UVM component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The </a:t>
            </a:r>
            <a:r>
              <a:rPr lang="en-US" sz="2400" dirty="0" err="1">
                <a:latin typeface="Tw Cen MT" pitchFamily="34" charset="0"/>
              </a:rPr>
              <a:t>uvm_component</a:t>
            </a:r>
            <a:r>
              <a:rPr lang="en-US" sz="2400" dirty="0">
                <a:latin typeface="Tw Cen MT" pitchFamily="34" charset="0"/>
              </a:rPr>
              <a:t> class is the root base class for all UVM components.  Components are static objects that exist throughout simulation.  </a:t>
            </a: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Class constructor new() needs the instance name and handle to its parent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All classes derived from </a:t>
            </a:r>
            <a:r>
              <a:rPr lang="en-US" sz="2400" dirty="0" err="1">
                <a:latin typeface="Tw Cen MT" pitchFamily="34" charset="0"/>
              </a:rPr>
              <a:t>uvm_component</a:t>
            </a:r>
            <a:r>
              <a:rPr lang="en-US" sz="2400" dirty="0">
                <a:latin typeface="Tw Cen MT" pitchFamily="34" charset="0"/>
              </a:rPr>
              <a:t> must call </a:t>
            </a:r>
            <a:r>
              <a:rPr lang="en-US" sz="2400" dirty="0" err="1">
                <a:latin typeface="Tw Cen MT" pitchFamily="34" charset="0"/>
              </a:rPr>
              <a:t>super.new</a:t>
            </a:r>
            <a:r>
              <a:rPr lang="en-US" sz="2400" dirty="0">
                <a:latin typeface="Tw Cen MT" pitchFamily="34" charset="0"/>
              </a:rPr>
              <a:t>(</a:t>
            </a:r>
            <a:r>
              <a:rPr lang="en-US" sz="2400" dirty="0" err="1">
                <a:latin typeface="Tw Cen MT" pitchFamily="34" charset="0"/>
              </a:rPr>
              <a:t>name,parent</a:t>
            </a:r>
            <a:r>
              <a:rPr lang="en-US" sz="2400" dirty="0">
                <a:latin typeface="Tw Cen MT" pitchFamily="34" charset="0"/>
              </a:rPr>
              <a:t>).</a:t>
            </a:r>
          </a:p>
        </p:txBody>
      </p:sp>
      <p:pic>
        <p:nvPicPr>
          <p:cNvPr id="10" name="Picture 9"/>
          <p:cNvPicPr/>
          <p:nvPr/>
        </p:nvPicPr>
        <p:blipFill>
          <a:blip r:embed="rId5"/>
          <a:stretch>
            <a:fillRect/>
          </a:stretch>
        </p:blipFill>
        <p:spPr>
          <a:xfrm>
            <a:off x="3188017" y="2362200"/>
            <a:ext cx="5498783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805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UVM component</a:t>
            </a:r>
            <a:r>
              <a:rPr lang="ar-EG" sz="2400" dirty="0">
                <a:latin typeface="Tw Cen MT" pitchFamily="34" charset="0"/>
              </a:rPr>
              <a:t> </a:t>
            </a:r>
            <a:r>
              <a:rPr lang="en-US" sz="2400" dirty="0">
                <a:latin typeface="Tw Cen MT" pitchFamily="34" charset="0"/>
              </a:rPr>
              <a:t>provides many features like:</a:t>
            </a:r>
          </a:p>
          <a:p>
            <a:endParaRPr lang="en-US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Hierarchy: Provides methods for searching and traversing component hierarchy. (</a:t>
            </a:r>
            <a:r>
              <a:rPr lang="en-US" sz="2400" dirty="0" err="1">
                <a:latin typeface="Tw Cen MT" pitchFamily="34" charset="0"/>
              </a:rPr>
              <a:t>get_parent</a:t>
            </a:r>
            <a:r>
              <a:rPr lang="en-US" sz="2400" dirty="0">
                <a:latin typeface="Tw Cen MT" pitchFamily="34" charset="0"/>
              </a:rPr>
              <a:t>, </a:t>
            </a:r>
            <a:r>
              <a:rPr lang="en-US" sz="2400" dirty="0" err="1">
                <a:latin typeface="Tw Cen MT" pitchFamily="34" charset="0"/>
              </a:rPr>
              <a:t>get_full_name</a:t>
            </a:r>
            <a:r>
              <a:rPr lang="en-US" sz="2400" dirty="0">
                <a:latin typeface="Tw Cen MT" pitchFamily="34" charset="0"/>
              </a:rPr>
              <a:t>)</a:t>
            </a:r>
          </a:p>
          <a:p>
            <a:pPr lvl="1"/>
            <a:endParaRPr lang="en-US" sz="2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Phasing: UVM defines a set of simulation phases that enable users to control the order in which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components are created, initialized, and executed. This allows all components to execute in synchronization. </a:t>
            </a:r>
          </a:p>
          <a:p>
            <a:pPr marL="800100" lvl="1" indent="-342900">
              <a:buFont typeface="Arial" pitchFamily="34" charset="0"/>
              <a:buChar char="•"/>
            </a:pPr>
            <a:endParaRPr lang="en-US" sz="2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Reporting: Provides an interface to </a:t>
            </a:r>
            <a:r>
              <a:rPr lang="en-US" sz="2400" dirty="0" err="1">
                <a:latin typeface="Tw Cen MT" pitchFamily="34" charset="0"/>
              </a:rPr>
              <a:t>uvm_report_handler</a:t>
            </a:r>
            <a:r>
              <a:rPr lang="en-US" sz="2400" dirty="0">
                <a:latin typeface="Tw Cen MT" pitchFamily="34" charset="0"/>
              </a:rPr>
              <a:t> to process all messages, errors, and warnings.</a:t>
            </a:r>
          </a:p>
          <a:p>
            <a:pPr marL="800100" lvl="1" indent="-342900">
              <a:buFont typeface="Arial" pitchFamily="34" charset="0"/>
              <a:buChar char="•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716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Class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2000" y="1143000"/>
            <a:ext cx="1043940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UVM component</a:t>
            </a:r>
            <a:r>
              <a:rPr lang="ar-EG" sz="2400" dirty="0">
                <a:latin typeface="Tw Cen MT" pitchFamily="34" charset="0"/>
              </a:rPr>
              <a:t> </a:t>
            </a:r>
            <a:r>
              <a:rPr lang="en-US" sz="2400" dirty="0">
                <a:latin typeface="Tw Cen MT" pitchFamily="34" charset="0"/>
              </a:rPr>
              <a:t>provides many features like:</a:t>
            </a:r>
          </a:p>
          <a:p>
            <a:endParaRPr lang="en-US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Objection: Provides an interface to the </a:t>
            </a:r>
            <a:r>
              <a:rPr lang="en-US" sz="2400" dirty="0" err="1">
                <a:latin typeface="Tw Cen MT" pitchFamily="34" charset="0"/>
              </a:rPr>
              <a:t>uvm_objection</a:t>
            </a:r>
            <a:r>
              <a:rPr lang="en-US" sz="2400" dirty="0">
                <a:latin typeface="Tw Cen MT" pitchFamily="34" charset="0"/>
              </a:rPr>
              <a:t> mechanism.</a:t>
            </a:r>
          </a:p>
          <a:p>
            <a:pPr lvl="1"/>
            <a:endParaRPr lang="en-US" sz="2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Configuration: UVM provides a configuration database that allows users to store and retrieve configuration information for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components</a:t>
            </a:r>
          </a:p>
          <a:p>
            <a:pPr lvl="1"/>
            <a:endParaRPr lang="en-US" sz="2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Factory: Provides an interface to the </a:t>
            </a:r>
            <a:r>
              <a:rPr lang="en-US" sz="2400" dirty="0" err="1">
                <a:latin typeface="Tw Cen MT" pitchFamily="34" charset="0"/>
              </a:rPr>
              <a:t>uvm_factory</a:t>
            </a:r>
            <a:r>
              <a:rPr lang="en-US" sz="2400" dirty="0">
                <a:latin typeface="Tw Cen MT" pitchFamily="34" charset="0"/>
              </a:rPr>
              <a:t> to create new components and objects. This also allows an override mechanism for components and objects. Will be discussed later.</a:t>
            </a:r>
          </a:p>
          <a:p>
            <a:pPr lvl="1"/>
            <a:endParaRPr lang="en-US" sz="2400" dirty="0">
              <a:solidFill>
                <a:srgbClr val="FF0000"/>
              </a:solidFill>
              <a:latin typeface="Tw Cen MT" pitchFamily="34" charset="0"/>
            </a:endParaRPr>
          </a:p>
          <a:p>
            <a:r>
              <a:rPr lang="en-US" sz="2400" dirty="0">
                <a:solidFill>
                  <a:srgbClr val="FF0000"/>
                </a:solidFill>
                <a:latin typeface="Tw Cen MT" pitchFamily="34" charset="0"/>
              </a:rPr>
              <a:t>Default constructor for </a:t>
            </a:r>
            <a:r>
              <a:rPr lang="en-US" sz="2400" dirty="0" err="1">
                <a:solidFill>
                  <a:srgbClr val="FF0000"/>
                </a:solidFill>
                <a:latin typeface="Tw Cen MT" pitchFamily="34" charset="0"/>
              </a:rPr>
              <a:t>uvm_component</a:t>
            </a:r>
            <a:r>
              <a:rPr lang="en-US" sz="2400" dirty="0">
                <a:solidFill>
                  <a:srgbClr val="FF0000"/>
                </a:solidFill>
                <a:latin typeface="Tw Cen MT" pitchFamily="34" charset="0"/>
              </a:rPr>
              <a:t> has two arguments: name and parent.</a:t>
            </a:r>
          </a:p>
          <a:p>
            <a:r>
              <a:rPr lang="en-US" sz="2400" dirty="0">
                <a:solidFill>
                  <a:srgbClr val="FF0000"/>
                </a:solidFill>
                <a:latin typeface="Tw Cen MT" pitchFamily="34" charset="0"/>
              </a:rPr>
              <a:t>Default constructor for </a:t>
            </a:r>
            <a:r>
              <a:rPr lang="en-US" sz="2400" dirty="0" err="1">
                <a:solidFill>
                  <a:srgbClr val="FF0000"/>
                </a:solidFill>
                <a:latin typeface="Tw Cen MT" pitchFamily="34" charset="0"/>
              </a:rPr>
              <a:t>uvm_object</a:t>
            </a:r>
            <a:r>
              <a:rPr lang="en-US" sz="2400" dirty="0">
                <a:solidFill>
                  <a:srgbClr val="FF0000"/>
                </a:solidFill>
                <a:latin typeface="Tw Cen MT" pitchFamily="34" charset="0"/>
              </a:rPr>
              <a:t> has a single argument: name</a:t>
            </a:r>
          </a:p>
          <a:p>
            <a:pPr marL="800100" lvl="1" indent="-342900">
              <a:buFont typeface="Arial" pitchFamily="34" charset="0"/>
              <a:buChar char="•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0895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</a:t>
            </a:r>
            <a:r>
              <a:rPr lang="en-US" dirty="0" err="1">
                <a:latin typeface="Tw Cen MT" pitchFamily="34" charset="0"/>
              </a:rPr>
              <a:t>Testbench</a:t>
            </a:r>
            <a:r>
              <a:rPr lang="en-US" dirty="0">
                <a:latin typeface="Tw Cen MT" pitchFamily="34" charset="0"/>
              </a:rPr>
              <a:t>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6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505200" y="2050197"/>
            <a:ext cx="4724400" cy="4731603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62000" y="1143000"/>
            <a:ext cx="10439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employs a layered, object-oriented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hierarchy that allows “separation of concerns” among the various team members. </a:t>
            </a:r>
          </a:p>
        </p:txBody>
      </p:sp>
    </p:spTree>
    <p:extLst>
      <p:ext uri="{BB962C8B-B14F-4D97-AF65-F5344CB8AC3E}">
        <p14:creationId xmlns:p14="http://schemas.microsoft.com/office/powerpoint/2010/main" val="31764043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</a:t>
            </a:r>
            <a:r>
              <a:rPr lang="en-US" dirty="0" err="1">
                <a:latin typeface="Tw Cen MT" pitchFamily="34" charset="0"/>
              </a:rPr>
              <a:t>Testbench</a:t>
            </a:r>
            <a:r>
              <a:rPr lang="en-US" dirty="0">
                <a:latin typeface="Tw Cen MT" pitchFamily="34" charset="0"/>
              </a:rPr>
              <a:t> Hierarch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7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3124200" y="1219200"/>
            <a:ext cx="5508942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921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</a:t>
            </a:r>
            <a:r>
              <a:rPr lang="en-US" dirty="0" err="1">
                <a:latin typeface="Tw Cen MT" pitchFamily="34" charset="0"/>
              </a:rPr>
              <a:t>Testbench</a:t>
            </a:r>
            <a:r>
              <a:rPr lang="en-US" dirty="0">
                <a:latin typeface="Tw Cen MT" pitchFamily="34" charset="0"/>
              </a:rPr>
              <a:t> To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top is a static container that has an instantiation of DUT and interfaces.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interface instance connects with DUT signals in the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top.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clock is generated and initially reset is applied to the DUT.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UVM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top is also used to trigger a test using </a:t>
            </a:r>
            <a:r>
              <a:rPr lang="en-US" sz="2400" dirty="0" err="1">
                <a:latin typeface="Tw Cen MT" pitchFamily="34" charset="0"/>
              </a:rPr>
              <a:t>run_test</a:t>
            </a:r>
            <a:r>
              <a:rPr lang="en-US" sz="2400" dirty="0">
                <a:latin typeface="Tw Cen MT" pitchFamily="34" charset="0"/>
              </a:rPr>
              <a:t>() call.</a:t>
            </a:r>
          </a:p>
        </p:txBody>
      </p:sp>
    </p:spTree>
    <p:extLst>
      <p:ext uri="{BB962C8B-B14F-4D97-AF65-F5344CB8AC3E}">
        <p14:creationId xmlns:p14="http://schemas.microsoft.com/office/powerpoint/2010/main" val="22112230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</a:t>
            </a:r>
            <a:r>
              <a:rPr lang="en-US" dirty="0" err="1">
                <a:latin typeface="Tw Cen MT" pitchFamily="34" charset="0"/>
              </a:rPr>
              <a:t>Testbench</a:t>
            </a:r>
            <a:r>
              <a:rPr lang="en-US" dirty="0">
                <a:latin typeface="Tw Cen MT" pitchFamily="34" charset="0"/>
              </a:rPr>
              <a:t> To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03514" y="1419209"/>
            <a:ext cx="4125686" cy="4295791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includ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uvm_macros.svh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impor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kg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*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modul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b_top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i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i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res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EE9900"/>
                </a:solidFill>
                <a:latin typeface="Consolas"/>
                <a:ea typeface="Times New Roman"/>
                <a:cs typeface="Times New Roman"/>
              </a:rPr>
              <a:t>always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#5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~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initial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reset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1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#5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reset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res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effectLst/>
              <a:latin typeface="Calibri"/>
              <a:ea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81600" y="1208724"/>
            <a:ext cx="6096000" cy="5344476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Instantiate design top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adder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DU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lk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,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es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s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,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n1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p1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,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n2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p2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,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ou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ou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initial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set interface in </a:t>
            </a:r>
            <a:r>
              <a:rPr lang="en-US" sz="1600" dirty="0" err="1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config_db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nfig_db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#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irtual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s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roo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*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Dump waves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$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dumpfil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dump.vcd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$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dumpvar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initial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un_tes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ase_test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600" dirty="0">
              <a:latin typeface="Calibri"/>
              <a:ea typeface="Calibri"/>
            </a:endParaRPr>
          </a:p>
          <a:p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modu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02553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OP Revis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lass encapsulates:</a:t>
            </a:r>
          </a:p>
          <a:p>
            <a:pPr marL="800100" lvl="1" indent="-342900">
              <a:buFontTx/>
              <a:buChar char="-"/>
            </a:pPr>
            <a:r>
              <a:rPr lang="en-US" sz="2400" dirty="0">
                <a:latin typeface="Tw Cen MT" pitchFamily="34" charset="0"/>
              </a:rPr>
              <a:t>Variables (properties) </a:t>
            </a:r>
          </a:p>
          <a:p>
            <a:pPr marL="800100" lvl="1" indent="-342900">
              <a:buFontTx/>
              <a:buChar char="-"/>
            </a:pPr>
            <a:r>
              <a:rPr lang="en-US" sz="2400" dirty="0">
                <a:latin typeface="Tw Cen MT" pitchFamily="34" charset="0"/>
              </a:rPr>
              <a:t>Subroutines (methods)</a:t>
            </a:r>
          </a:p>
          <a:p>
            <a:pPr lvl="1"/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Object</a:t>
            </a:r>
            <a:r>
              <a:rPr lang="en-US" sz="2400" dirty="0">
                <a:latin typeface="Tw Cen MT" pitchFamily="34" charset="0"/>
              </a:rPr>
              <a:t>: instance of a class.</a:t>
            </a:r>
          </a:p>
          <a:p>
            <a:endParaRPr lang="en-US" sz="8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lass constructors: Allocate memory for the object using the </a:t>
            </a:r>
            <a:r>
              <a:rPr lang="en-US" sz="2400" b="1" dirty="0">
                <a:latin typeface="Tw Cen MT" pitchFamily="34" charset="0"/>
              </a:rPr>
              <a:t>new() </a:t>
            </a:r>
            <a:r>
              <a:rPr lang="en-US" sz="2400" dirty="0">
                <a:latin typeface="Tw Cen MT" pitchFamily="34" charset="0"/>
              </a:rPr>
              <a:t>method.</a:t>
            </a:r>
          </a:p>
          <a:p>
            <a:pPr>
              <a:buFont typeface="Courier New" pitchFamily="49" charset="0"/>
              <a:buChar char="o"/>
            </a:pPr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Object members are accessed using the (.) notation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733800" y="4495800"/>
            <a:ext cx="4191000" cy="1752600"/>
            <a:chOff x="3657600" y="4191000"/>
            <a:chExt cx="4114800" cy="2133600"/>
          </a:xfrm>
        </p:grpSpPr>
        <p:sp>
          <p:nvSpPr>
            <p:cNvPr id="17" name="Rounded Rectangle 16"/>
            <p:cNvSpPr/>
            <p:nvPr/>
          </p:nvSpPr>
          <p:spPr>
            <a:xfrm>
              <a:off x="3657600" y="4267200"/>
              <a:ext cx="2057400" cy="20574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Class</a:t>
              </a:r>
              <a:endParaRPr lang="en-US" sz="2000" b="1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962400" y="5108793"/>
              <a:ext cx="1447800" cy="377607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Properties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3955093" y="5639974"/>
              <a:ext cx="1447800" cy="377607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Methods</a:t>
              </a:r>
            </a:p>
          </p:txBody>
        </p:sp>
        <p:cxnSp>
          <p:nvCxnSpPr>
            <p:cNvPr id="20" name="Straight Arrow Connector 19"/>
            <p:cNvCxnSpPr>
              <a:stCxn id="17" idx="3"/>
            </p:cNvCxnSpPr>
            <p:nvPr/>
          </p:nvCxnSpPr>
          <p:spPr>
            <a:xfrm flipV="1">
              <a:off x="5715000" y="4800600"/>
              <a:ext cx="762000" cy="49530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17" idx="3"/>
            </p:cNvCxnSpPr>
            <p:nvPr/>
          </p:nvCxnSpPr>
          <p:spPr>
            <a:xfrm>
              <a:off x="5715000" y="5295900"/>
              <a:ext cx="762000" cy="41910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/>
            <p:cNvSpPr/>
            <p:nvPr/>
          </p:nvSpPr>
          <p:spPr>
            <a:xfrm>
              <a:off x="6324600" y="4191000"/>
              <a:ext cx="1447800" cy="7620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Object</a:t>
              </a:r>
              <a:endParaRPr lang="en-US" sz="2000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6324600" y="5562600"/>
              <a:ext cx="1447800" cy="7620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Object</a:t>
              </a:r>
              <a:endParaRPr lang="en-US" sz="2000" dirty="0"/>
            </a:p>
          </p:txBody>
        </p:sp>
      </p:grpSp>
      <p:sp>
        <p:nvSpPr>
          <p:cNvPr id="4" name="Right Brace 3"/>
          <p:cNvSpPr/>
          <p:nvPr/>
        </p:nvSpPr>
        <p:spPr>
          <a:xfrm>
            <a:off x="4572000" y="1676400"/>
            <a:ext cx="209550" cy="533400"/>
          </a:xfrm>
          <a:prstGeom prst="rightBrac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953000" y="1676400"/>
            <a:ext cx="21242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latin typeface="Tw Cen MT" pitchFamily="34" charset="0"/>
              </a:rPr>
              <a:t>Class members</a:t>
            </a:r>
          </a:p>
        </p:txBody>
      </p:sp>
    </p:spTree>
    <p:extLst>
      <p:ext uri="{BB962C8B-B14F-4D97-AF65-F5344CB8AC3E}">
        <p14:creationId xmlns:p14="http://schemas.microsoft.com/office/powerpoint/2010/main" val="591566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Tes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top-level UVM Component in the UVM Test bench. </a:t>
            </a: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Instantiates the top-level environment and configures it.</a:t>
            </a: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Implement run phase to start sequences on required sequencers with raise/drop objection callbacks. </a:t>
            </a: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150076" y="2766114"/>
            <a:ext cx="5663247" cy="3939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1362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Tes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" y="1483354"/>
            <a:ext cx="5715000" cy="4307846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tes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tes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_o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base_seq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bseq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tes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onstructor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my_test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_o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env_o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19800" y="1740362"/>
            <a:ext cx="5344886" cy="3517438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aise_objecti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bseq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base_seq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seq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epea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10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#5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bseq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star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_o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gt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drop_objecti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info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_type_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End of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testcase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LO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234893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Environ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Environment is a higher-level verification and hierarchical component that groups together other verification components that are interrelated. </a:t>
            </a: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 top-level UVM Environment encapsulates all the verification components targeting the DUT like UVM Agents, UVM Scoreboards, or even other UVM Environments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276600" y="2895600"/>
            <a:ext cx="50292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5846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Environ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81200" y="1066800"/>
            <a:ext cx="8610600" cy="5625194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en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en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agent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g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scoreboard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b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func_cov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fco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env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g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ag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agt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b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scoreboar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sb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fcov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func_co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fcov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onnect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onnect agent and scoreboard using TLM interface  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Ex. </a:t>
            </a:r>
            <a:r>
              <a:rPr lang="en-US" sz="1600" dirty="0" err="1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agt.mon.item_collect_port.connect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sb.item_collect_export</a:t>
            </a:r>
            <a:r>
              <a:rPr lang="en-US" sz="16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600" dirty="0">
              <a:effectLst/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716177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Ag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agent is a hierarchical component that contains UVM Sequencer, UVM Driver, and UVM Monitor that are dealing with a specific DUT interface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UVM Agents might include other components, like coverage collectors, protocol checkers, a TLM model, etc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environment may contain more than one agent. The agent can initiate the transactions to the DUT or react to the transaction requests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re are two types of agents: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>
                <a:latin typeface="Tw Cen MT" pitchFamily="34" charset="0"/>
              </a:rPr>
              <a:t>Active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>
                <a:latin typeface="Tw Cen MT" pitchFamily="34" charset="0"/>
              </a:rPr>
              <a:t>Passive</a:t>
            </a:r>
          </a:p>
        </p:txBody>
      </p:sp>
    </p:spTree>
    <p:extLst>
      <p:ext uri="{BB962C8B-B14F-4D97-AF65-F5344CB8AC3E}">
        <p14:creationId xmlns:p14="http://schemas.microsoft.com/office/powerpoint/2010/main" val="17899522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Ag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 Active agent stimulates the DUT by driving transactions and monitors the device. It instantiates all three components driver, monitor, and sequencer.</a:t>
            </a: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 Passive agent does not drive stimulus to the DUT. It instantiates only a monitor component. It is used as a sample interface for coverage and checker purposes. </a:t>
            </a: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 rotWithShape="1">
          <a:blip r:embed="rId5"/>
          <a:srcRect b="27832"/>
          <a:stretch/>
        </p:blipFill>
        <p:spPr>
          <a:xfrm>
            <a:off x="6096000" y="1828800"/>
            <a:ext cx="4495800" cy="1828800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 rotWithShape="1">
          <a:blip r:embed="rId6"/>
          <a:srcRect b="27529"/>
          <a:stretch/>
        </p:blipFill>
        <p:spPr>
          <a:xfrm>
            <a:off x="6162675" y="4800600"/>
            <a:ext cx="4657725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161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Ag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8143" y="1120891"/>
            <a:ext cx="8001000" cy="5098255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_age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ag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driver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rv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sequencer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itor_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_A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_ag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a_agent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is_activ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CTIV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rv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drive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drv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r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sequence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seqr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info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This is Active agent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LO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_A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itor_A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mon_A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86600" y="4285347"/>
            <a:ext cx="4495800" cy="2496453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onnect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onnect_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f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is_activ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CTIV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rv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port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onnec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expor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600" dirty="0"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54410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equence Item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Generate stimulus and has control capabilities for the sequence-sequencer mechanism.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4600" y="2058084"/>
            <a:ext cx="7086600" cy="4571316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seqeunce_item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ran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valu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ran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lor_typ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color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ran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yt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data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4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]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rand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it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7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]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object_utils_begi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objec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ield_i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alu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LL_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ield_string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LL_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ield_enum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lor_typ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color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LL_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ield_sarray_i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ata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LL_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ield_int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r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ALL_ON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object_utils_end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my_object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600" dirty="0">
              <a:effectLst/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41920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equen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UVM sequence is a container that holds data items (</a:t>
            </a:r>
            <a:r>
              <a:rPr lang="en-US" sz="2400" dirty="0" err="1">
                <a:latin typeface="Tw Cen MT" pitchFamily="34" charset="0"/>
              </a:rPr>
              <a:t>uvm_sequence_items</a:t>
            </a:r>
            <a:r>
              <a:rPr lang="en-US" sz="2400" dirty="0">
                <a:latin typeface="Tw Cen MT" pitchFamily="34" charset="0"/>
              </a:rPr>
              <a:t>) which are sent to the driver via the sequencer. 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an be transient or persistent. 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o operate, each UVM Sequence is eventually bound to a UVM Sequencer.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Multiple UVM Sequence instances can be bound to the same UVM Sequencer</a:t>
            </a: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048000" y="3810000"/>
            <a:ext cx="61722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1920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equen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0" y="1066800"/>
            <a:ext cx="6096000" cy="3352649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sequenc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sequence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#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seq_item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6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object_utils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sequenc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6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my_sequnce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6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6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ody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6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..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4495800"/>
            <a:ext cx="4572000" cy="1003929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ody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do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1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alling seq1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do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2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alling seq2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62000" y="5562600"/>
            <a:ext cx="4572000" cy="1234440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ody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reat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asser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andomiz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send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62600" y="4594386"/>
            <a:ext cx="5562600" cy="1936428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ody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ype_id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creat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wait_for_gran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asser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randomiz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send_reques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wait_for_item_don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respo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sp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8689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OP: Parameterized Classe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Parameters used for objects customization during compile time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an be value parameter or type parameter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pic>
        <p:nvPicPr>
          <p:cNvPr id="123912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713" y="3048000"/>
            <a:ext cx="4600575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42852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equenc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sequencer behaves as an arbiter for controlling transaction flow from multiple stimulus sequences. </a:t>
            </a:r>
            <a:endParaRPr lang="en-US" sz="1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Also controls the flow of UVM Sequence Items generated by one or more UVM Sequences. </a:t>
            </a: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</a:t>
            </a:r>
            <a:r>
              <a:rPr lang="en-US" sz="2400" dirty="0" err="1">
                <a:latin typeface="Tw Cen MT" pitchFamily="34" charset="0"/>
              </a:rPr>
              <a:t>uvm_sequencer</a:t>
            </a:r>
            <a:r>
              <a:rPr lang="en-US" sz="2400" dirty="0">
                <a:latin typeface="Tw Cen MT" pitchFamily="34" charset="0"/>
              </a:rPr>
              <a:t> class is a parameterized class of type REQ </a:t>
            </a:r>
            <a:r>
              <a:rPr lang="en-US" sz="2400" dirty="0" err="1">
                <a:latin typeface="Tw Cen MT" pitchFamily="34" charset="0"/>
              </a:rPr>
              <a:t>sequence_item</a:t>
            </a:r>
            <a:r>
              <a:rPr lang="en-US" sz="2400" dirty="0">
                <a:latin typeface="Tw Cen MT" pitchFamily="34" charset="0"/>
              </a:rPr>
              <a:t> and RSP sequence item. RSP sequence item is optional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85"/>
          <a:stretch/>
        </p:blipFill>
        <p:spPr bwMode="auto">
          <a:xfrm>
            <a:off x="3581400" y="3505201"/>
            <a:ext cx="4114800" cy="320039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641920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equenc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0" y="2049199"/>
            <a:ext cx="6096000" cy="275960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sequencer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sequencer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#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ata_item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y_sequencer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6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600" dirty="0">
              <a:effectLst/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54053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Driv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Driver receives the sequence Item transactions from the UVM Sequencer and applies it on the DUT Interface. </a:t>
            </a:r>
          </a:p>
          <a:p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</a:t>
            </a:r>
            <a:r>
              <a:rPr lang="en-US" sz="2400" dirty="0" err="1">
                <a:latin typeface="Tw Cen MT" pitchFamily="34" charset="0"/>
              </a:rPr>
              <a:t>uvm_driver</a:t>
            </a:r>
            <a:r>
              <a:rPr lang="en-US" sz="2400" dirty="0">
                <a:latin typeface="Tw Cen MT" pitchFamily="34" charset="0"/>
              </a:rPr>
              <a:t> class is a parameterized class of type REQ </a:t>
            </a:r>
            <a:r>
              <a:rPr lang="en-US" sz="2400" dirty="0" err="1">
                <a:latin typeface="Tw Cen MT" pitchFamily="34" charset="0"/>
              </a:rPr>
              <a:t>sequence_item</a:t>
            </a:r>
            <a:r>
              <a:rPr lang="en-US" sz="2400" dirty="0">
                <a:latin typeface="Tw Cen MT" pitchFamily="34" charset="0"/>
              </a:rPr>
              <a:t> and RSP sequence item. RSP sequence item is optional. </a:t>
            </a:r>
          </a:p>
          <a:p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sequencer and driver communicate with each other using a bidirectional TLM interface to transfer REQ and RSP sequence items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7672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Driv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driver has </a:t>
            </a:r>
            <a:r>
              <a:rPr lang="en-US" sz="2400" dirty="0" err="1">
                <a:latin typeface="Tw Cen MT" pitchFamily="34" charset="0"/>
              </a:rPr>
              <a:t>uvm_seq_item_pull_port</a:t>
            </a:r>
            <a:r>
              <a:rPr lang="en-US" sz="2400" dirty="0">
                <a:latin typeface="Tw Cen MT" pitchFamily="34" charset="0"/>
              </a:rPr>
              <a:t> which is connected with </a:t>
            </a:r>
            <a:r>
              <a:rPr lang="en-US" sz="2400" dirty="0" err="1">
                <a:latin typeface="Tw Cen MT" pitchFamily="34" charset="0"/>
              </a:rPr>
              <a:t>uvm_seq_item_pull_export</a:t>
            </a:r>
            <a:r>
              <a:rPr lang="en-US" sz="2400" dirty="0">
                <a:latin typeface="Tw Cen MT" pitchFamily="34" charset="0"/>
              </a:rPr>
              <a:t> of the associated sequencer. </a:t>
            </a:r>
          </a:p>
          <a:p>
            <a:endParaRPr lang="en-US" sz="2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TLM connection between driver and sequencer is one-to-one connection. It means neither multiple sequencers are connected to a single driver nor multiple drivers connected to a single sequencer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060510" y="3505200"/>
            <a:ext cx="5489812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4865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Driv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2000" y="1524000"/>
            <a:ext cx="6096000" cy="4687502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driver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driv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#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irtual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driver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driver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!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nfig_db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#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irtual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atal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type_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Not set at top level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Get the </a:t>
            </a:r>
            <a:r>
              <a:rPr lang="en-US" sz="1400" dirty="0" err="1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sequence_item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 and drive it to DUT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latin typeface="Calibri"/>
              <a:ea typeface="Calibri"/>
            </a:endParaRPr>
          </a:p>
          <a:p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6934200" y="1828800"/>
            <a:ext cx="4191000" cy="1925976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orev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port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next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Driving logic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..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port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tem_don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948714" y="3869355"/>
            <a:ext cx="4176486" cy="1936428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orev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port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Driving logic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..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_port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pu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sp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effectLst/>
              <a:latin typeface="Calibri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92575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Monit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A UVM monitor is a passive component used to capture DUT signals using a virtual interface and translate them into a sequence item format. </a:t>
            </a:r>
          </a:p>
          <a:p>
            <a:endParaRPr lang="en-US" sz="2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se sequence items or transactions are broadcasted to other components like the UVM scoreboard, coverage collector, etc. </a:t>
            </a:r>
          </a:p>
          <a:p>
            <a:endParaRPr lang="en-US" sz="16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It uses a TLM analysis port to broadcast transactions.</a:t>
            </a:r>
          </a:p>
          <a:p>
            <a:endParaRPr lang="en-US" sz="16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</a:t>
            </a:r>
            <a:r>
              <a:rPr lang="en-US" sz="2400" dirty="0" err="1">
                <a:latin typeface="Tw Cen MT" pitchFamily="34" charset="0"/>
              </a:rPr>
              <a:t>uvm_analysis_port</a:t>
            </a:r>
            <a:r>
              <a:rPr lang="en-US" sz="2400" dirty="0">
                <a:latin typeface="Tw Cen MT" pitchFamily="34" charset="0"/>
              </a:rPr>
              <a:t> is a specialized TLM based class whose interface consists of a single function write () and can be embedded within any component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is port contains a list of analysis exports that are connected to it, When the monitor calls </a:t>
            </a:r>
            <a:r>
              <a:rPr lang="en-US" sz="2400" dirty="0" err="1">
                <a:latin typeface="Tw Cen MT" pitchFamily="34" charset="0"/>
              </a:rPr>
              <a:t>analysis_port.write</a:t>
            </a:r>
            <a:r>
              <a:rPr lang="en-US" sz="2400" dirty="0">
                <a:latin typeface="Tw Cen MT" pitchFamily="34" charset="0"/>
              </a:rPr>
              <a:t>(), it basically cycles through the list and calls the write() method of each connected export. </a:t>
            </a:r>
          </a:p>
        </p:txBody>
      </p:sp>
    </p:spTree>
    <p:extLst>
      <p:ext uri="{BB962C8B-B14F-4D97-AF65-F5344CB8AC3E}">
        <p14:creationId xmlns:p14="http://schemas.microsoft.com/office/powerpoint/2010/main" val="6475350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Monit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7200" y="1315318"/>
            <a:ext cx="7010400" cy="4933082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monitor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monitor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declaration for the virtual interface, analysis port, and monitor sequence item.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irtual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analysis_por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#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collect_por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itor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onstructor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monitor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collect_por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tem_collect_port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!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nfig_db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#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irtual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add_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::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v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fatal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get_type_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Not set at top level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391400" y="3352800"/>
            <a:ext cx="4419600" cy="192392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orev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Sample DUT information and translate into transa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collect_port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writ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mon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978357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coreboar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2000" y="1143000"/>
            <a:ext cx="104394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The UVM Scoreboard checks the behavior of a certain DUT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 err="1">
                <a:latin typeface="Tw Cen MT" pitchFamily="34" charset="0"/>
              </a:rPr>
              <a:t>mIt</a:t>
            </a:r>
            <a:r>
              <a:rPr lang="en-US" sz="2400" dirty="0">
                <a:latin typeface="Tw Cen MT" pitchFamily="34" charset="0"/>
              </a:rPr>
              <a:t> usually receives transactions carrying inputs and outputs of the DUT through UVM Agent analysis ports, runs the input transactions through a reference model (also known as the predictor) to produce expected transactions, and then compares the expected output versus the actual output.</a:t>
            </a:r>
          </a:p>
        </p:txBody>
      </p:sp>
      <p:pic>
        <p:nvPicPr>
          <p:cNvPr id="6" name="Picture 5"/>
          <p:cNvPicPr/>
          <p:nvPr/>
        </p:nvPicPr>
        <p:blipFill rotWithShape="1">
          <a:blip r:embed="rId5"/>
          <a:srcRect b="35614"/>
          <a:stretch/>
        </p:blipFill>
        <p:spPr>
          <a:xfrm>
            <a:off x="3048000" y="3581400"/>
            <a:ext cx="5562600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5350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 Scoreboar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1371600"/>
            <a:ext cx="6096000" cy="5163593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clas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scoreboard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xtend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scoreboard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analysis_imp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#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scoreboard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collect_expor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$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]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component_util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coreboard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tring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name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scoreboard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componen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null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aren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collect_expor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ne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tem_collect_export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his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super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build_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un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void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writ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`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uvm_info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_type_nam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$</a:t>
            </a:r>
            <a:r>
              <a:rPr lang="en-US" sz="1400" dirty="0" err="1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sformat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"Received transaction = %s"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,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UVM_LOW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push_back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eq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functio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400" dirty="0">
              <a:latin typeface="Calibri"/>
              <a:ea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05600" y="2667000"/>
            <a:ext cx="4724400" cy="3088987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task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run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uvm_phas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phase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eq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b_item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forev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wai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iz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if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iz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C92C2C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)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begin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sb_item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A67F59"/>
                </a:solidFill>
                <a:latin typeface="Consolas"/>
                <a:ea typeface="Times New Roman"/>
                <a:cs typeface="Times New Roman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item_q</a:t>
            </a:r>
            <a:r>
              <a:rPr lang="en-US" sz="1400" dirty="0" err="1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</a:t>
            </a:r>
            <a:r>
              <a:rPr lang="en-US" sz="1400" dirty="0" err="1">
                <a:solidFill>
                  <a:srgbClr val="2F9C0A"/>
                </a:solidFill>
                <a:latin typeface="Consolas"/>
                <a:ea typeface="Times New Roman"/>
                <a:cs typeface="Times New Roman"/>
              </a:rPr>
              <a:t>pop_front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();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>
                <a:solidFill>
                  <a:srgbClr val="7D8B99"/>
                </a:solidFill>
                <a:latin typeface="Consolas"/>
                <a:ea typeface="Times New Roman"/>
                <a:cs typeface="Times New Roman"/>
              </a:rPr>
              <a:t>// Checking comparing logic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>
                <a:solidFill>
                  <a:srgbClr val="5F6364"/>
                </a:solidFill>
                <a:latin typeface="Consolas"/>
                <a:ea typeface="Times New Roman"/>
                <a:cs typeface="Times New Roman"/>
              </a:rPr>
              <a:t>..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task</a:t>
            </a:r>
            <a:endParaRPr lang="en-US" sz="1400" dirty="0">
              <a:latin typeface="Calibri"/>
              <a:ea typeface="Calibri"/>
            </a:endParaRPr>
          </a:p>
          <a:p>
            <a:pPr>
              <a:lnSpc>
                <a:spcPct val="107000"/>
              </a:lnSpc>
            </a:pPr>
            <a:r>
              <a:rPr lang="en-US" sz="1400" dirty="0" err="1">
                <a:solidFill>
                  <a:srgbClr val="1990B8"/>
                </a:solidFill>
                <a:latin typeface="Consolas"/>
                <a:ea typeface="Times New Roman"/>
                <a:cs typeface="Times New Roman"/>
              </a:rPr>
              <a:t>endclas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15967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39B42-1949-56E8-09A1-506229086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y Building a Simple UVM Te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CB3888-434E-0D3E-11A4-C9105BE3E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DFD061-4FE0-5307-19BF-A3129254A8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962" y="1143000"/>
            <a:ext cx="7141903" cy="47244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EF569F-B0E4-89C7-E34F-AE0C2B35F3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19800" y="4800600"/>
            <a:ext cx="4953000" cy="1401764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Compile using:</a:t>
            </a:r>
          </a:p>
          <a:p>
            <a:pPr marL="457200" lvl="1" indent="0">
              <a:buNone/>
            </a:pPr>
            <a:r>
              <a:rPr lang="en-US" sz="1800" dirty="0" err="1">
                <a:latin typeface="Abadi Extra Light" panose="020B0204020104020204" pitchFamily="34" charset="0"/>
              </a:rPr>
              <a:t>vcs</a:t>
            </a:r>
            <a:r>
              <a:rPr lang="en-US" sz="1800" dirty="0">
                <a:latin typeface="Abadi Extra Light" panose="020B0204020104020204" pitchFamily="34" charset="0"/>
              </a:rPr>
              <a:t> -</a:t>
            </a:r>
            <a:r>
              <a:rPr lang="en-US" sz="1800" dirty="0" err="1">
                <a:latin typeface="Abadi Extra Light" panose="020B0204020104020204" pitchFamily="34" charset="0"/>
              </a:rPr>
              <a:t>sverilog</a:t>
            </a:r>
            <a:r>
              <a:rPr lang="en-US" sz="1800" dirty="0">
                <a:latin typeface="Abadi Extra Light" panose="020B0204020104020204" pitchFamily="34" charset="0"/>
              </a:rPr>
              <a:t> -</a:t>
            </a:r>
            <a:r>
              <a:rPr lang="en-US" sz="1800" dirty="0" err="1">
                <a:latin typeface="Abadi Extra Light" panose="020B0204020104020204" pitchFamily="34" charset="0"/>
              </a:rPr>
              <a:t>ntb_opts</a:t>
            </a:r>
            <a:r>
              <a:rPr lang="en-US" sz="1800" dirty="0">
                <a:latin typeface="Abadi Extra Light" panose="020B0204020104020204" pitchFamily="34" charset="0"/>
              </a:rPr>
              <a:t> uvm-1.2 mytest.sv</a:t>
            </a:r>
          </a:p>
          <a:p>
            <a:pPr marL="457200" lvl="1" indent="0">
              <a:buNone/>
            </a:pPr>
            <a:r>
              <a:rPr lang="en-US" sz="1800" dirty="0">
                <a:latin typeface="Abadi Extra Light" panose="020B0204020104020204" pitchFamily="34" charset="0"/>
              </a:rPr>
              <a:t>./</a:t>
            </a:r>
            <a:r>
              <a:rPr lang="en-US" sz="1800" dirty="0" err="1">
                <a:latin typeface="Abadi Extra Light" panose="020B0204020104020204" pitchFamily="34" charset="0"/>
              </a:rPr>
              <a:t>simv</a:t>
            </a:r>
            <a:r>
              <a:rPr lang="en-US" sz="1800" dirty="0">
                <a:latin typeface="Abadi Extra Light" panose="020B0204020104020204" pitchFamily="34" charset="0"/>
              </a:rPr>
              <a:t> +UVM_TESTNAME=</a:t>
            </a:r>
            <a:r>
              <a:rPr lang="en-US" sz="1800" dirty="0" err="1">
                <a:latin typeface="Abadi Extra Light" panose="020B0204020104020204" pitchFamily="34" charset="0"/>
              </a:rPr>
              <a:t>my_test</a:t>
            </a:r>
            <a:endParaRPr lang="en-US" sz="1800" dirty="0">
              <a:latin typeface="Abadi Extra Light" panose="020B0204020104020204" pitchFamily="34" charset="0"/>
            </a:endParaRPr>
          </a:p>
          <a:p>
            <a:pPr lvl="1"/>
            <a:endParaRPr lang="en-US" sz="1800" dirty="0">
              <a:latin typeface="Abadi Extra 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8993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OP: Inheritanc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261408"/>
            <a:ext cx="10439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Any class can be extended to add more properties and/or methods</a:t>
            </a:r>
          </a:p>
          <a:p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If the method of the parent class is overridden in the child class, then using the ‘super’ keyword parent class method can be accessed from the child class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262489" y="3793671"/>
            <a:ext cx="4967111" cy="2607129"/>
            <a:chOff x="1524000" y="3869871"/>
            <a:chExt cx="4967111" cy="2607129"/>
          </a:xfrm>
        </p:grpSpPr>
        <p:grpSp>
          <p:nvGrpSpPr>
            <p:cNvPr id="17" name="Group 16"/>
            <p:cNvGrpSpPr/>
            <p:nvPr/>
          </p:nvGrpSpPr>
          <p:grpSpPr>
            <a:xfrm>
              <a:off x="1524000" y="3869871"/>
              <a:ext cx="2871611" cy="1690007"/>
              <a:chOff x="3657600" y="4267200"/>
              <a:chExt cx="2819400" cy="2057400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3657600" y="4267200"/>
                <a:ext cx="2057400" cy="2057400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>
                    <a:solidFill>
                      <a:schemeClr val="tx1"/>
                    </a:solidFill>
                  </a:rPr>
                  <a:t>Base Class</a:t>
                </a:r>
                <a:endParaRPr lang="en-US" sz="1400" b="1" dirty="0">
                  <a:solidFill>
                    <a:schemeClr val="tx1"/>
                  </a:solidFill>
                </a:endParaRPr>
              </a:p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Rounded Rectangle 23"/>
              <p:cNvSpPr/>
              <p:nvPr/>
            </p:nvSpPr>
            <p:spPr>
              <a:xfrm>
                <a:off x="3962400" y="5108793"/>
                <a:ext cx="1447800" cy="377607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dirty="0">
                    <a:solidFill>
                      <a:schemeClr val="tx1"/>
                    </a:solidFill>
                  </a:rPr>
                  <a:t>Properties</a:t>
                </a:r>
              </a:p>
            </p:txBody>
          </p:sp>
          <p:sp>
            <p:nvSpPr>
              <p:cNvPr id="25" name="Rounded Rectangle 24"/>
              <p:cNvSpPr/>
              <p:nvPr/>
            </p:nvSpPr>
            <p:spPr>
              <a:xfrm>
                <a:off x="3955093" y="5639974"/>
                <a:ext cx="1447800" cy="377607"/>
              </a:xfrm>
              <a:prstGeom prst="round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dirty="0">
                    <a:solidFill>
                      <a:schemeClr val="tx1"/>
                    </a:solidFill>
                  </a:rPr>
                  <a:t>Methods</a:t>
                </a:r>
              </a:p>
            </p:txBody>
          </p:sp>
          <p:cxnSp>
            <p:nvCxnSpPr>
              <p:cNvPr id="26" name="Straight Arrow Connector 25"/>
              <p:cNvCxnSpPr>
                <a:stCxn id="23" idx="3"/>
              </p:cNvCxnSpPr>
              <p:nvPr/>
            </p:nvCxnSpPr>
            <p:spPr>
              <a:xfrm>
                <a:off x="5715000" y="5295901"/>
                <a:ext cx="762000" cy="3389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" name="Rounded Rectangle 17"/>
            <p:cNvSpPr/>
            <p:nvPr/>
          </p:nvSpPr>
          <p:spPr>
            <a:xfrm>
              <a:off x="4395611" y="3871263"/>
              <a:ext cx="2095500" cy="2605737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tx1"/>
                  </a:solidFill>
                </a:rPr>
                <a:t>Child Class</a:t>
              </a:r>
            </a:p>
            <a:p>
              <a:pPr algn="ctr"/>
              <a:endParaRPr lang="en-US" sz="1400" b="1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  <a:p>
              <a:pPr algn="ctr"/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4706055" y="4562571"/>
              <a:ext cx="1474611" cy="310177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Properties</a:t>
              </a: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4698613" y="4998899"/>
              <a:ext cx="1474611" cy="310177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Methods</a:t>
              </a: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4706055" y="5449078"/>
              <a:ext cx="1474611" cy="31017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Properties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698613" y="5885406"/>
              <a:ext cx="1474611" cy="310177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Metho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811613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524000"/>
            <a:ext cx="10363200" cy="2152651"/>
          </a:xfrm>
        </p:spPr>
        <p:txBody>
          <a:bodyPr/>
          <a:lstStyle/>
          <a:p>
            <a:pPr algn="ctr"/>
            <a:r>
              <a:rPr lang="en-US" sz="5400" dirty="0">
                <a:latin typeface="Tw Cen MT" pitchFamily="34" charset="0"/>
              </a:rPr>
              <a:t>Thank yo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249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OP: Remember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Static variables </a:t>
            </a:r>
            <a:r>
              <a:rPr lang="en-US" sz="2400" dirty="0">
                <a:latin typeface="Tw Cen MT" pitchFamily="34" charset="0"/>
              </a:rPr>
              <a:t>has one copy in all class instances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Static methods </a:t>
            </a:r>
            <a:r>
              <a:rPr lang="en-US" sz="2400" dirty="0">
                <a:latin typeface="Tw Cen MT" pitchFamily="34" charset="0"/>
              </a:rPr>
              <a:t>can be called without class instantiation and has access to static members only.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Virtual class </a:t>
            </a:r>
            <a:r>
              <a:rPr lang="en-US" sz="2400" dirty="0">
                <a:latin typeface="Tw Cen MT" pitchFamily="34" charset="0"/>
              </a:rPr>
              <a:t>is a class that you cannot create an object from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Virtual methods</a:t>
            </a:r>
            <a:r>
              <a:rPr lang="en-US" sz="2400" dirty="0">
                <a:latin typeface="Tw Cen MT" pitchFamily="34" charset="0"/>
              </a:rPr>
              <a:t>: in case of identical function names between base and child class, using virtual methods allow access to the child class methods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</a:t>
            </a:r>
            <a:r>
              <a:rPr lang="en-US" sz="2400" b="1" dirty="0">
                <a:latin typeface="Tw Cen MT" pitchFamily="34" charset="0"/>
              </a:rPr>
              <a:t>this keyword</a:t>
            </a:r>
            <a:r>
              <a:rPr lang="en-US" sz="2400" dirty="0">
                <a:latin typeface="Tw Cen MT" pitchFamily="34" charset="0"/>
              </a:rPr>
              <a:t>: predefined object handle that refers to the current object 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778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OP: `define macro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`define macro in </a:t>
            </a:r>
            <a:r>
              <a:rPr lang="en-US" sz="2400" dirty="0" err="1">
                <a:latin typeface="Tw Cen MT" pitchFamily="34" charset="0"/>
              </a:rPr>
              <a:t>systemverilog</a:t>
            </a:r>
            <a:r>
              <a:rPr lang="en-US" sz="2400" dirty="0">
                <a:latin typeface="Tw Cen MT" pitchFamily="34" charset="0"/>
              </a:rPr>
              <a:t> is a directive that allows you to define a shorthand or alias for a block of code.</a:t>
            </a:r>
          </a:p>
          <a:p>
            <a:pPr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  <p:pic>
        <p:nvPicPr>
          <p:cNvPr id="12697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794" y="2376716"/>
            <a:ext cx="6635437" cy="1083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98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585" y="3592286"/>
            <a:ext cx="6703853" cy="2853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9066215" y="2687435"/>
            <a:ext cx="19203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Tw Cen MT" pitchFamily="34" charset="0"/>
              </a:rPr>
              <a:t>Single line macro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144000" y="4808292"/>
            <a:ext cx="17745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Tw Cen MT" pitchFamily="34" charset="0"/>
              </a:rPr>
              <a:t>Multiline macro:</a:t>
            </a:r>
          </a:p>
        </p:txBody>
      </p:sp>
    </p:spTree>
    <p:extLst>
      <p:ext uri="{BB962C8B-B14F-4D97-AF65-F5344CB8AC3E}">
        <p14:creationId xmlns:p14="http://schemas.microsoft.com/office/powerpoint/2010/main" val="3237308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524000"/>
            <a:ext cx="10363200" cy="2152651"/>
          </a:xfrm>
        </p:spPr>
        <p:txBody>
          <a:bodyPr/>
          <a:lstStyle/>
          <a:p>
            <a:pPr algn="ctr"/>
            <a:r>
              <a:rPr lang="en-US" sz="5400" dirty="0">
                <a:latin typeface="Tw Cen MT" pitchFamily="34" charset="0"/>
              </a:rPr>
              <a:t>Introduction to UV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754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UVM: What is UVM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8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6"/>
          <a:stretch>
            <a:fillRect/>
          </a:stretch>
        </p:blipFill>
        <p:spPr>
          <a:xfrm>
            <a:off x="2743200" y="3429000"/>
            <a:ext cx="6396593" cy="301171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62000" y="1143000"/>
            <a:ext cx="10439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Universal Verification Methodology. 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lass base library defined using </a:t>
            </a:r>
            <a:r>
              <a:rPr lang="en-US" sz="2400" dirty="0" err="1">
                <a:latin typeface="Tw Cen MT" pitchFamily="34" charset="0"/>
              </a:rPr>
              <a:t>systemverilog</a:t>
            </a:r>
            <a:r>
              <a:rPr lang="en-US" sz="2400" dirty="0">
                <a:latin typeface="Tw Cen MT" pitchFamily="34" charset="0"/>
              </a:rPr>
              <a:t>.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Maintained by </a:t>
            </a:r>
            <a:r>
              <a:rPr lang="en-US" sz="2400" dirty="0" err="1">
                <a:latin typeface="Tw Cen MT" pitchFamily="34" charset="0"/>
              </a:rPr>
              <a:t>Accellera</a:t>
            </a:r>
            <a:r>
              <a:rPr lang="en-US" sz="2400" dirty="0">
                <a:latin typeface="Tw Cen MT" pitchFamily="34" charset="0"/>
              </a:rPr>
              <a:t>.</a:t>
            </a:r>
          </a:p>
          <a:p>
            <a:endParaRPr lang="en-US" sz="1000" dirty="0">
              <a:latin typeface="Tw Cen MT" pitchFamily="34" charset="0"/>
            </a:endParaRP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Supported by multiple EDA vendors (Mentor, Synopsys, Cadence)</a:t>
            </a:r>
          </a:p>
        </p:txBody>
      </p:sp>
    </p:spTree>
    <p:extLst>
      <p:ext uri="{BB962C8B-B14F-4D97-AF65-F5344CB8AC3E}">
        <p14:creationId xmlns:p14="http://schemas.microsoft.com/office/powerpoint/2010/main" val="1752557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Why UVM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62000" y="1143000"/>
            <a:ext cx="104394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Pre-defined base classes library with built in methods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Standardized methodology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Reusability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Modularity 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Scalability 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Configurability </a:t>
            </a:r>
          </a:p>
          <a:p>
            <a:pPr>
              <a:lnSpc>
                <a:spcPct val="150000"/>
              </a:lnSpc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 Separate test from </a:t>
            </a:r>
            <a:r>
              <a:rPr lang="en-US" sz="2400" dirty="0" err="1">
                <a:latin typeface="Tw Cen MT" pitchFamily="34" charset="0"/>
              </a:rPr>
              <a:t>testbench</a:t>
            </a:r>
            <a:r>
              <a:rPr lang="en-US" sz="2400" dirty="0">
                <a:latin typeface="Tw Cen MT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4284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24080</TotalTime>
  <Words>3596</Words>
  <Application>Microsoft Office PowerPoint</Application>
  <PresentationFormat>Widescreen</PresentationFormat>
  <Paragraphs>513</Paragraphs>
  <Slides>4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Abadi Extra Light</vt:lpstr>
      <vt:lpstr>Arial</vt:lpstr>
      <vt:lpstr>Calibri</vt:lpstr>
      <vt:lpstr>Consolas</vt:lpstr>
      <vt:lpstr>Courier New</vt:lpstr>
      <vt:lpstr>Times New Roman</vt:lpstr>
      <vt:lpstr>Tw Cen MT</vt:lpstr>
      <vt:lpstr>Wingdings</vt:lpstr>
      <vt:lpstr>508 Lecture</vt:lpstr>
      <vt:lpstr>think-cell Slide</vt:lpstr>
      <vt:lpstr>CND212: Digital Testing and Verification</vt:lpstr>
      <vt:lpstr>OOP Revision </vt:lpstr>
      <vt:lpstr>OOP: Parameterized Classes </vt:lpstr>
      <vt:lpstr>OOP: Inheritance </vt:lpstr>
      <vt:lpstr>OOP: Remember </vt:lpstr>
      <vt:lpstr>OOP: `define macro</vt:lpstr>
      <vt:lpstr>Introduction to UVM</vt:lpstr>
      <vt:lpstr>UVM: What is UVM?</vt:lpstr>
      <vt:lpstr>Why UVM?</vt:lpstr>
      <vt:lpstr>UVM Class Hierarchy</vt:lpstr>
      <vt:lpstr>UVM Class Hierarchy</vt:lpstr>
      <vt:lpstr>UVM Class Hierarchy</vt:lpstr>
      <vt:lpstr>UVM Class Hierarchy</vt:lpstr>
      <vt:lpstr>UVM Class Hierarchy</vt:lpstr>
      <vt:lpstr>UVM Class Hierarchy</vt:lpstr>
      <vt:lpstr>UVM Testbench Hierarchy</vt:lpstr>
      <vt:lpstr>UVM Testbench Hierarchy</vt:lpstr>
      <vt:lpstr>UVM Testbench Top</vt:lpstr>
      <vt:lpstr>UVM Testbench Top</vt:lpstr>
      <vt:lpstr>UVM Test</vt:lpstr>
      <vt:lpstr>UVM Test</vt:lpstr>
      <vt:lpstr>UVM Environment</vt:lpstr>
      <vt:lpstr>UVM Environment</vt:lpstr>
      <vt:lpstr>UVM Agent</vt:lpstr>
      <vt:lpstr>UVM Agent</vt:lpstr>
      <vt:lpstr>UVM Agent</vt:lpstr>
      <vt:lpstr>UVM Sequence Items</vt:lpstr>
      <vt:lpstr>UVM Sequence</vt:lpstr>
      <vt:lpstr>UVM Sequence</vt:lpstr>
      <vt:lpstr>UVM Sequencer</vt:lpstr>
      <vt:lpstr>UVM Sequencer</vt:lpstr>
      <vt:lpstr>UVM Driver</vt:lpstr>
      <vt:lpstr>UVM Driver</vt:lpstr>
      <vt:lpstr>UVM Driver</vt:lpstr>
      <vt:lpstr>UVM Monitor</vt:lpstr>
      <vt:lpstr>UVM Monitor</vt:lpstr>
      <vt:lpstr>UVM Scoreboard</vt:lpstr>
      <vt:lpstr>UVM Scoreboard</vt:lpstr>
      <vt:lpstr>Try Building a Simple UVM Test</vt:lpstr>
      <vt:lpstr>Thank you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912</cp:revision>
  <dcterms:created xsi:type="dcterms:W3CDTF">2014-07-14T20:04:21Z</dcterms:created>
  <dcterms:modified xsi:type="dcterms:W3CDTF">2024-04-20T13:24:25Z</dcterms:modified>
</cp:coreProperties>
</file>